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Default Extension="svg" ContentType="image/sv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heme/theme4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08" r:id="rId1"/>
    <p:sldMasterId id="2147483802" r:id="rId2"/>
    <p:sldMasterId id="2147483813" r:id="rId3"/>
  </p:sldMasterIdLst>
  <p:notesMasterIdLst>
    <p:notesMasterId r:id="rId15"/>
  </p:notesMasterIdLst>
  <p:handoutMasterIdLst>
    <p:handoutMasterId r:id="rId16"/>
  </p:handoutMasterIdLst>
  <p:sldIdLst>
    <p:sldId id="1133" r:id="rId4"/>
    <p:sldId id="1134" r:id="rId5"/>
    <p:sldId id="1135" r:id="rId6"/>
    <p:sldId id="1136" r:id="rId7"/>
    <p:sldId id="1137" r:id="rId8"/>
    <p:sldId id="1139" r:id="rId9"/>
    <p:sldId id="1143" r:id="rId10"/>
    <p:sldId id="1138" r:id="rId11"/>
    <p:sldId id="1140" r:id="rId12"/>
    <p:sldId id="1141" r:id="rId13"/>
    <p:sldId id="1142" r:id="rId14"/>
  </p:sldIdLst>
  <p:sldSz cx="6858000" cy="12192000"/>
  <p:notesSz cx="6888163" cy="100203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6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4" pos="7401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orient="horz" pos="3249" userDrawn="1">
          <p15:clr>
            <a:srgbClr val="A4A3A4"/>
          </p15:clr>
        </p15:guide>
        <p15:guide id="10" pos="1844" userDrawn="1">
          <p15:clr>
            <a:srgbClr val="A4A3A4"/>
          </p15:clr>
        </p15:guide>
        <p15:guide id="14" pos="3318" userDrawn="1">
          <p15:clr>
            <a:srgbClr val="A4A3A4"/>
          </p15:clr>
        </p15:guide>
        <p15:guide id="15" pos="4747" userDrawn="1">
          <p15:clr>
            <a:srgbClr val="A4A3A4"/>
          </p15:clr>
        </p15:guide>
        <p15:guide id="16" pos="6040" userDrawn="1">
          <p15:clr>
            <a:srgbClr val="A4A3A4"/>
          </p15:clr>
        </p15:guide>
        <p15:guide id="1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233C78"/>
    <a:srgbClr val="ECF5FB"/>
    <a:srgbClr val="E1EEFF"/>
    <a:srgbClr val="86C3E9"/>
    <a:srgbClr val="FC22C3"/>
    <a:srgbClr val="37AFA9"/>
    <a:srgbClr val="FEB0B2"/>
    <a:srgbClr val="499FD1"/>
    <a:srgbClr val="0361A5"/>
    <a:srgbClr val="008AC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9122" autoAdjust="0"/>
    <p:restoredTop sz="94253" autoAdjust="0"/>
  </p:normalViewPr>
  <p:slideViewPr>
    <p:cSldViewPr snapToGrid="0">
      <p:cViewPr varScale="1">
        <p:scale>
          <a:sx n="61" d="100"/>
          <a:sy n="61" d="100"/>
        </p:scale>
        <p:origin x="-3678" y="-102"/>
      </p:cViewPr>
      <p:guideLst>
        <p:guide orient="horz" pos="775"/>
        <p:guide orient="horz" pos="6622"/>
        <p:guide orient="horz" pos="5776"/>
        <p:guide pos="170"/>
        <p:guide pos="4163"/>
        <p:guide pos="1037"/>
        <p:guide pos="1866"/>
        <p:guide pos="2670"/>
        <p:guide pos="3398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90" y="9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85352" cy="502295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01205" y="1"/>
            <a:ext cx="2985352" cy="502295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>
              <a:defRPr sz="1200"/>
            </a:lvl1pPr>
          </a:lstStyle>
          <a:p>
            <a:fld id="{5E1740E6-FAAD-458E-8F70-076CE730AACD}" type="datetimeFigureOut">
              <a:rPr lang="ru-RU" smtClean="0"/>
              <a:pPr/>
              <a:t>17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518007"/>
            <a:ext cx="2985352" cy="502295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01205" y="9518007"/>
            <a:ext cx="2985352" cy="502295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>
              <a:defRPr sz="1200"/>
            </a:lvl1pPr>
          </a:lstStyle>
          <a:p>
            <a:fld id="{6A9B7E29-9827-4036-968E-B9C584E7527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32684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1" cy="502755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700" y="0"/>
            <a:ext cx="2984871" cy="502755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pPr/>
              <a:t>17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492375" y="1252538"/>
            <a:ext cx="1903413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0" tIns="46145" rIns="92290" bIns="461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2271"/>
            <a:ext cx="5510530" cy="3945493"/>
          </a:xfrm>
          <a:prstGeom prst="rect">
            <a:avLst/>
          </a:prstGeom>
        </p:spPr>
        <p:txBody>
          <a:bodyPr vert="horz" lIns="92290" tIns="46145" rIns="92290" bIns="461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517547"/>
            <a:ext cx="2984871" cy="502754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700" y="9517547"/>
            <a:ext cx="2984871" cy="502754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Титульный слайд">
  <p:cSld name="2_Титульный слайд">
    <p:bg>
      <p:bgPr>
        <a:solidFill>
          <a:srgbClr val="F4F8FA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57" descr="preencoded.png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5876627" y="15522"/>
            <a:ext cx="985838" cy="2077156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57"/>
          <p:cNvSpPr/>
          <p:nvPr/>
        </p:nvSpPr>
        <p:spPr>
          <a:xfrm>
            <a:off x="269677" y="11459043"/>
            <a:ext cx="169119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rgbClr val="233C78"/>
                </a:solidFill>
                <a:latin typeface="Calibri"/>
                <a:ea typeface="Calibri"/>
                <a:cs typeface="Calibri"/>
                <a:sym typeface="Calibri"/>
              </a:rPr>
              <a:t>©  Издательство «Просвещение», 2024</a:t>
            </a:r>
            <a:endParaRPr/>
          </a:p>
        </p:txBody>
      </p:sp>
      <p:sp>
        <p:nvSpPr>
          <p:cNvPr id="42" name="Google Shape;42;p57"/>
          <p:cNvSpPr txBox="1"/>
          <p:nvPr/>
        </p:nvSpPr>
        <p:spPr>
          <a:xfrm>
            <a:off x="6369547" y="863601"/>
            <a:ext cx="258961" cy="381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33C78"/>
              </a:buClr>
              <a:buSzPts val="1400"/>
              <a:buFont typeface="Calibri"/>
              <a:buNone/>
            </a:pPr>
            <a:fld id="{00000000-1234-1234-1234-123412341234}" type="slidenum">
              <a:rPr lang="ru-RU" sz="1400" b="1">
                <a:solidFill>
                  <a:srgbClr val="233C78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33C78"/>
                </a:buClr>
                <a:buSzPts val="1400"/>
                <a:buFont typeface="Calibri"/>
                <a:buNone/>
              </a:pPr>
              <a:t>‹#›</a:t>
            </a:fld>
            <a:endParaRPr sz="1400" b="1">
              <a:solidFill>
                <a:srgbClr val="233C7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" name="Google Shape;43;p57"/>
          <p:cNvPicPr preferRelativeResize="0"/>
          <p:nvPr/>
        </p:nvPicPr>
        <p:blipFill rotWithShape="1">
          <a:blip r:embed="rId3">
            <a:alphaModFix/>
          </a:blip>
          <a:srcRect r="65863" b="-13113"/>
          <a:stretch/>
        </p:blipFill>
        <p:spPr>
          <a:xfrm>
            <a:off x="5200846" y="10750133"/>
            <a:ext cx="851071" cy="1017543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Google Shape;44;p57" descr="preencoded.png"/>
          <p:cNvPicPr preferRelativeResize="0"/>
          <p:nvPr/>
        </p:nvPicPr>
        <p:blipFill rotWithShape="1">
          <a:blip r:embed="rId4" cstate="print">
            <a:alphaModFix/>
          </a:blip>
          <a:srcRect/>
          <a:stretch/>
        </p:blipFill>
        <p:spPr>
          <a:xfrm>
            <a:off x="0" y="2980267"/>
            <a:ext cx="560784" cy="3533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45;p57" descr="preencoded.png"/>
          <p:cNvPicPr preferRelativeResize="0"/>
          <p:nvPr/>
        </p:nvPicPr>
        <p:blipFill rotWithShape="1">
          <a:blip r:embed="rId5" cstate="print">
            <a:alphaModFix/>
          </a:blip>
          <a:srcRect/>
          <a:stretch/>
        </p:blipFill>
        <p:spPr>
          <a:xfrm>
            <a:off x="6372225" y="7055556"/>
            <a:ext cx="485775" cy="3127022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57"/>
          <p:cNvSpPr txBox="1">
            <a:spLocks noGrp="1"/>
          </p:cNvSpPr>
          <p:nvPr>
            <p:ph type="sldNum" idx="12"/>
          </p:nvPr>
        </p:nvSpPr>
        <p:spPr>
          <a:xfrm>
            <a:off x="6417588" y="11258905"/>
            <a:ext cx="411581" cy="93333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10" name="Прямоугольник 7"/>
          <p:cNvSpPr/>
          <p:nvPr userDrawn="1"/>
        </p:nvSpPr>
        <p:spPr bwMode="auto">
          <a:xfrm>
            <a:off x="3316650" y="11453377"/>
            <a:ext cx="399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C8B0588C-5D01-654B-9A15-2A6BDD1112E5}" type="slidenum">
              <a:rPr lang="ru-RU" sz="1400" b="1">
                <a:solidFill>
                  <a:srgbClr val="233C78"/>
                </a:solidFill>
                <a:latin typeface="Calibri"/>
                <a:ea typeface="+mn-ea"/>
                <a:cs typeface="+mn-cs"/>
              </a:rPr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07527" y="10666238"/>
            <a:ext cx="487561" cy="1185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657530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83470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68" t="1522" r="488" b="724"/>
          <a:stretch>
            <a:fillRect/>
          </a:stretch>
        </p:blipFill>
        <p:spPr>
          <a:xfrm>
            <a:off x="0" y="0"/>
            <a:ext cx="6858000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159513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68" t="63841" r="79396" b="723"/>
          <a:stretch>
            <a:fillRect/>
          </a:stretch>
        </p:blipFill>
        <p:spPr>
          <a:xfrm>
            <a:off x="0" y="7772400"/>
            <a:ext cx="1383209" cy="441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450804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4613077" y="0"/>
            <a:ext cx="2244923" cy="705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91496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4613622" y="1773381"/>
            <a:ext cx="2244923" cy="705555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56" t="1522" r="488" b="41908"/>
          <a:stretch>
            <a:fillRect/>
          </a:stretch>
        </p:blipFill>
        <p:spPr>
          <a:xfrm rot="10800000">
            <a:off x="1" y="1773381"/>
            <a:ext cx="2244923" cy="705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342240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 bwMode="auto">
          <a:xfrm>
            <a:off x="785345" y="4304828"/>
            <a:ext cx="5291605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730377" y="4551681"/>
            <a:ext cx="2654046" cy="5884670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3477006" y="4551681"/>
            <a:ext cx="2654046" cy="5884670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18DADB-8B59-4AFE-9BE9-5D45F1646E26}" type="datetimeFigureOut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7.03.202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A9230AF-8A3A-4A91-8900-83BD7EB07807}" type="slidenum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1620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8343" y="107920"/>
            <a:ext cx="3661314" cy="857956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rgbClr val="28458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35558" y="3500458"/>
            <a:ext cx="4795599" cy="7156027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1720" y="11338560"/>
            <a:ext cx="2194560" cy="6096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42900" y="11338560"/>
            <a:ext cx="1577340" cy="6096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/17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937760" y="11338560"/>
            <a:ext cx="1577340" cy="6096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1780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178198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5920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68" t="1522" r="488" b="724"/>
          <a:stretch>
            <a:fillRect/>
          </a:stretch>
        </p:blipFill>
        <p:spPr>
          <a:xfrm>
            <a:off x="0" y="0"/>
            <a:ext cx="6858000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74467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68" t="63841" r="79396" b="723"/>
          <a:stretch>
            <a:fillRect/>
          </a:stretch>
        </p:blipFill>
        <p:spPr>
          <a:xfrm>
            <a:off x="0" y="7772400"/>
            <a:ext cx="1383209" cy="441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96814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4613077" y="0"/>
            <a:ext cx="2244923" cy="705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91174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4613622" y="1773381"/>
            <a:ext cx="2244923" cy="705555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56" t="1522" r="488" b="41908"/>
          <a:stretch>
            <a:fillRect/>
          </a:stretch>
        </p:blipFill>
        <p:spPr>
          <a:xfrm rot="10800000">
            <a:off x="1" y="1773381"/>
            <a:ext cx="2244923" cy="705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91491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 bwMode="auto">
          <a:xfrm>
            <a:off x="785345" y="4304828"/>
            <a:ext cx="5291605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730377" y="4551681"/>
            <a:ext cx="2654046" cy="5884670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3477006" y="4551681"/>
            <a:ext cx="2654046" cy="5884670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18DADB-8B59-4AFE-9BE9-5D45F1646E26}" type="datetimeFigureOut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7.03.202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A9230AF-8A3A-4A91-8900-83BD7EB07807}" type="slidenum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1074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598343" y="107920"/>
            <a:ext cx="3661314" cy="857956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rgbClr val="28458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35558" y="3500458"/>
            <a:ext cx="4795599" cy="7156027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1720" y="11338560"/>
            <a:ext cx="2194560" cy="6096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42900" y="11338560"/>
            <a:ext cx="1577340" cy="6096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/17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937760" y="11338560"/>
            <a:ext cx="1577340" cy="6096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6867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sldNum" idx="12"/>
          </p:nvPr>
        </p:nvSpPr>
        <p:spPr>
          <a:xfrm>
            <a:off x="6417588" y="11258905"/>
            <a:ext cx="411581" cy="933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buNone/>
              <a:defRPr sz="1300">
                <a:solidFill>
                  <a:schemeClr val="tx1"/>
                </a:solidFill>
              </a:defRPr>
            </a:lvl1pPr>
            <a:lvl2pPr lvl="1" algn="r">
              <a:buNone/>
              <a:defRPr sz="1300">
                <a:solidFill>
                  <a:schemeClr val="tx1"/>
                </a:solidFill>
              </a:defRPr>
            </a:lvl2pPr>
            <a:lvl3pPr lvl="2" algn="r">
              <a:buNone/>
              <a:defRPr sz="1300">
                <a:solidFill>
                  <a:schemeClr val="tx1"/>
                </a:solidFill>
              </a:defRPr>
            </a:lvl3pPr>
            <a:lvl4pPr lvl="3" algn="r">
              <a:buNone/>
              <a:defRPr sz="1300">
                <a:solidFill>
                  <a:schemeClr val="tx1"/>
                </a:solidFill>
              </a:defRPr>
            </a:lvl4pPr>
            <a:lvl5pPr lvl="4" algn="r">
              <a:buNone/>
              <a:defRPr sz="1300">
                <a:solidFill>
                  <a:schemeClr val="tx1"/>
                </a:solidFill>
              </a:defRPr>
            </a:lvl5pPr>
            <a:lvl6pPr lvl="5" algn="r">
              <a:buNone/>
              <a:defRPr sz="1300">
                <a:solidFill>
                  <a:schemeClr val="tx1"/>
                </a:solidFill>
              </a:defRPr>
            </a:lvl6pPr>
            <a:lvl7pPr lvl="6" algn="r">
              <a:buNone/>
              <a:defRPr sz="1300">
                <a:solidFill>
                  <a:schemeClr val="tx1"/>
                </a:solidFill>
              </a:defRPr>
            </a:lvl7pPr>
            <a:lvl8pPr lvl="7" algn="r">
              <a:buNone/>
              <a:defRPr sz="1300">
                <a:solidFill>
                  <a:schemeClr val="tx1"/>
                </a:solidFill>
              </a:defRPr>
            </a:lvl8pPr>
            <a:lvl9pPr lvl="8" algn="r">
              <a:buNone/>
              <a:defRPr sz="1300">
                <a:solidFill>
                  <a:schemeClr val="tx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85772683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1" r:id="rId1"/>
    <p:sldLayoutId id="2147483812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p:oleObj spid="_x0000_s1026" name="Слайд think-cell" r:id="rId11" imgW="360" imgH="360" progId="">
              <p:embed/>
            </p:oleObj>
          </a:graphicData>
        </a:graphic>
      </p:graphicFrame>
      <p:sp>
        <p:nvSpPr>
          <p:cNvPr id="51" name="Текст 1"/>
          <p:cNvSpPr txBox="1"/>
          <p:nvPr userDrawn="1"/>
        </p:nvSpPr>
        <p:spPr>
          <a:xfrm>
            <a:off x="6294537" y="887352"/>
            <a:ext cx="258961" cy="38100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</a:rPr>
              <a:pPr algn="r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26467" y="10581116"/>
            <a:ext cx="539252" cy="896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44605" y="10581116"/>
            <a:ext cx="609314" cy="896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58572" y="10581116"/>
            <a:ext cx="791899" cy="8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55200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10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p:oleObj spid="_x0000_s2050" name="Слайд think-cell" r:id="rId11" imgW="360" imgH="360" progId="">
              <p:embed/>
            </p:oleObj>
          </a:graphicData>
        </a:graphic>
      </p:graphicFrame>
      <p:sp>
        <p:nvSpPr>
          <p:cNvPr id="51" name="Текст 1"/>
          <p:cNvSpPr txBox="1"/>
          <p:nvPr userDrawn="1"/>
        </p:nvSpPr>
        <p:spPr>
          <a:xfrm>
            <a:off x="6294537" y="887352"/>
            <a:ext cx="258961" cy="38100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</a:rPr>
              <a:pPr algn="r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26467" y="10581116"/>
            <a:ext cx="539252" cy="896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44605" y="10581116"/>
            <a:ext cx="609314" cy="896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58572" y="10581116"/>
            <a:ext cx="791899" cy="8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510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1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41DC6F8-F2BB-101A-0372-59E3EB3F9C81}"/>
              </a:ext>
            </a:extLst>
          </p:cNvPr>
          <p:cNvSpPr txBox="1"/>
          <p:nvPr/>
        </p:nvSpPr>
        <p:spPr>
          <a:xfrm>
            <a:off x="210165" y="272013"/>
            <a:ext cx="6421079" cy="21162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МИНИСТЕРСТВО ОБРАЗОВАНИЯ И НАУКИ ЧЕЧЕНСКОЙ РЕСПУБЛИКИ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ГОСУДАРСТВЕННОЕ БЮДЖЕТНОЕ УЧРЕЖДЕНИЕ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ДОПОЛНИТЕЛЬНОГО ПРОФЕССИОНАЛЬНОГО ОБРАЗОВАНИЯ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«ИНСТИТУТ РАЗВИТИЯ ОБРАЗОВАНИЯ ЧЕЧЕНСКОЙ РЕСПУБЛИКИ»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____________________________________________________________________________________________________________________________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2E4E567-2A0B-4D4C-2B9B-F135DABB280F}"/>
              </a:ext>
            </a:extLst>
          </p:cNvPr>
          <p:cNvSpPr txBox="1"/>
          <p:nvPr/>
        </p:nvSpPr>
        <p:spPr>
          <a:xfrm>
            <a:off x="960895" y="3503724"/>
            <a:ext cx="5300420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горитм работы 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чителя начальных классов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рамках реализации 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екта «</a:t>
            </a:r>
            <a:r>
              <a:rPr lang="ru-RU" sz="3200" b="1" i="1" dirty="0" err="1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чтение</a:t>
            </a:r>
            <a:r>
              <a:rPr lang="ru-RU" sz="32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en-US" sz="3200" i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FBD02FC-78F9-331E-3E53-1B1AC1AF6B69}"/>
              </a:ext>
            </a:extLst>
          </p:cNvPr>
          <p:cNvSpPr txBox="1"/>
          <p:nvPr/>
        </p:nvSpPr>
        <p:spPr>
          <a:xfrm>
            <a:off x="2925710" y="10545708"/>
            <a:ext cx="1150344" cy="6559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г. Грозный</a:t>
            </a:r>
            <a:endParaRPr lang="ru-RU" sz="14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2024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 descr="Профессор женский контур">
            <a:extLst>
              <a:ext uri="{FF2B5EF4-FFF2-40B4-BE49-F238E27FC236}">
                <a16:creationId xmlns="" xmlns:a16="http://schemas.microsoft.com/office/drawing/2014/main" id="{4732A31E-5ADE-7AD7-3A1B-FD8222CDD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956" y="2523015"/>
            <a:ext cx="1324355" cy="1735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581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347E96BD-7CCE-E7FC-56AF-98BA331F9622}"/>
              </a:ext>
            </a:extLst>
          </p:cNvPr>
          <p:cNvSpPr/>
          <p:nvPr/>
        </p:nvSpPr>
        <p:spPr>
          <a:xfrm>
            <a:off x="138266" y="209756"/>
            <a:ext cx="5928852" cy="90893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оценивания работы по литературному чтению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E841E43B-18B2-D2DA-2922-C792940705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28371423"/>
              </p:ext>
            </p:extLst>
          </p:nvPr>
        </p:nvGraphicFramePr>
        <p:xfrm>
          <a:off x="138267" y="1310969"/>
          <a:ext cx="6603591" cy="20582890"/>
        </p:xfrm>
        <a:graphic>
          <a:graphicData uri="http://schemas.openxmlformats.org/drawingml/2006/table">
            <a:tbl>
              <a:tblPr firstRow="1" firstCol="1" bandRow="1"/>
              <a:tblGrid>
                <a:gridCol w="365513">
                  <a:extLst>
                    <a:ext uri="{9D8B030D-6E8A-4147-A177-3AD203B41FA5}">
                      <a16:colId xmlns="" xmlns:a16="http://schemas.microsoft.com/office/drawing/2014/main" val="3937649477"/>
                    </a:ext>
                  </a:extLst>
                </a:gridCol>
                <a:gridCol w="663187">
                  <a:extLst>
                    <a:ext uri="{9D8B030D-6E8A-4147-A177-3AD203B41FA5}">
                      <a16:colId xmlns="" xmlns:a16="http://schemas.microsoft.com/office/drawing/2014/main" val="898695183"/>
                    </a:ext>
                  </a:extLst>
                </a:gridCol>
                <a:gridCol w="1780729">
                  <a:extLst>
                    <a:ext uri="{9D8B030D-6E8A-4147-A177-3AD203B41FA5}">
                      <a16:colId xmlns="" xmlns:a16="http://schemas.microsoft.com/office/drawing/2014/main" val="1828869180"/>
                    </a:ext>
                  </a:extLst>
                </a:gridCol>
                <a:gridCol w="3794162">
                  <a:extLst>
                    <a:ext uri="{9D8B030D-6E8A-4147-A177-3AD203B41FA5}">
                      <a16:colId xmlns="" xmlns:a16="http://schemas.microsoft.com/office/drawing/2014/main" val="134206688"/>
                    </a:ext>
                  </a:extLst>
                </a:gridCol>
              </a:tblGrid>
              <a:tr h="593244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5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25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5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en-US" sz="25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5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ряемое умение</a:t>
                      </a:r>
                      <a:endParaRPr lang="en-US" sz="25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 оценивания</a:t>
                      </a:r>
                      <a:endParaRPr lang="en-US" sz="25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721607"/>
                  </a:ext>
                </a:extLst>
              </a:tr>
              <a:tr h="10078034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5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25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5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-4</a:t>
                      </a:r>
                      <a:endParaRPr lang="en-US" sz="25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ставлять письменные высказывания на основе прочитанного текста на заданную тему по содержанию произведения для 3-х классов не менее 3-4 предложений, для 4-х классов- не менее 4-5 предложений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Соответствие теме, ее раскрытие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б.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ысказывание соответствует теме, содержит правильные выводы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б.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ысказывание частично соответствует теме/частично раскрывает 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му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б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 высказывание не соответствует теме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Смысловая цельность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б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- высказывание характеризуется смысловой цельностью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б.-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не обладает смысловой цельностью, не является 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огичным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Выразительность и точность речи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б.-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отвечает требованиям выразительности речи и точности выбора языковых средств, речевые ошибки 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уют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б.-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отвечает требованиям выразительности речи, но при этом допущены единичные речевые ошибки или небольшая неточность при выборе языковых средств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б.-</a:t>
                      </a:r>
                      <a:r>
                        <a:rPr lang="ru-RU" sz="25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казывание отличается бедностью словаря, содержит речевые ошибки.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5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ксимальный балл – 5 баллов </a:t>
                      </a:r>
                      <a:endParaRPr lang="en-US" sz="25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686" marR="176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76149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07393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30D6E60C-79B7-6FAE-5B96-2BCB4F84B358}"/>
              </a:ext>
            </a:extLst>
          </p:cNvPr>
          <p:cNvSpPr/>
          <p:nvPr/>
        </p:nvSpPr>
        <p:spPr>
          <a:xfrm>
            <a:off x="138266" y="209756"/>
            <a:ext cx="5928852" cy="90893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евод баллов в отметки по пятибалльной шкале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014AE378-9AA5-BD6E-533F-661F656B38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14304206"/>
              </p:ext>
            </p:extLst>
          </p:nvPr>
        </p:nvGraphicFramePr>
        <p:xfrm>
          <a:off x="199103" y="2076036"/>
          <a:ext cx="4076086" cy="3478676"/>
        </p:xfrm>
        <a:graphic>
          <a:graphicData uri="http://schemas.openxmlformats.org/drawingml/2006/table">
            <a:tbl>
              <a:tblPr firstRow="1" firstCol="1" bandRow="1"/>
              <a:tblGrid>
                <a:gridCol w="2096115">
                  <a:extLst>
                    <a:ext uri="{9D8B030D-6E8A-4147-A177-3AD203B41FA5}">
                      <a16:colId xmlns="" xmlns:a16="http://schemas.microsoft.com/office/drawing/2014/main" val="2598256493"/>
                    </a:ext>
                  </a:extLst>
                </a:gridCol>
                <a:gridCol w="1979971">
                  <a:extLst>
                    <a:ext uri="{9D8B030D-6E8A-4147-A177-3AD203B41FA5}">
                      <a16:colId xmlns="" xmlns:a16="http://schemas.microsoft.com/office/drawing/2014/main" val="2428279290"/>
                    </a:ext>
                  </a:extLst>
                </a:gridCol>
              </a:tblGrid>
              <a:tr h="6957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личество баллов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метка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780909563"/>
                  </a:ext>
                </a:extLst>
              </a:tr>
              <a:tr h="6957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б.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21507936"/>
                  </a:ext>
                </a:extLst>
              </a:tr>
              <a:tr h="6957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б.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33733161"/>
                  </a:ext>
                </a:extLst>
              </a:tr>
              <a:tr h="6957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б.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29397251"/>
                  </a:ext>
                </a:extLst>
              </a:tr>
              <a:tr h="6957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-2 б.</a:t>
                      </a:r>
                      <a:endParaRPr lang="en-US" sz="43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43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43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34131155"/>
                  </a:ext>
                </a:extLst>
              </a:tr>
            </a:tbl>
          </a:graphicData>
        </a:graphic>
      </p:graphicFrame>
      <p:sp>
        <p:nvSpPr>
          <p:cNvPr id="4" name="Свиток: вертикальный 3">
            <a:extLst>
              <a:ext uri="{FF2B5EF4-FFF2-40B4-BE49-F238E27FC236}">
                <a16:creationId xmlns="" xmlns:a16="http://schemas.microsoft.com/office/drawing/2014/main" id="{15C71CD4-656C-8C60-7BAE-9E81E5FAD9DA}"/>
              </a:ext>
            </a:extLst>
          </p:cNvPr>
          <p:cNvSpPr/>
          <p:nvPr/>
        </p:nvSpPr>
        <p:spPr>
          <a:xfrm>
            <a:off x="4441109" y="1503242"/>
            <a:ext cx="2317340" cy="6484923"/>
          </a:xfrm>
          <a:prstGeom prst="vertic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ри оценивании работы следует учитывать объем высказывания, если он не соответствует норме, то количество полученных баллов уменьшается на один</a:t>
            </a:r>
            <a:r>
              <a:rPr lang="ru-RU" sz="18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.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5" name="Свиток: горизонтальный 4">
            <a:extLst>
              <a:ext uri="{FF2B5EF4-FFF2-40B4-BE49-F238E27FC236}">
                <a16:creationId xmlns="" xmlns:a16="http://schemas.microsoft.com/office/drawing/2014/main" id="{F1B84855-118C-403C-ECDB-B25DDAD81DAC}"/>
              </a:ext>
            </a:extLst>
          </p:cNvPr>
          <p:cNvSpPr/>
          <p:nvPr/>
        </p:nvSpPr>
        <p:spPr>
          <a:xfrm>
            <a:off x="168684" y="5986416"/>
            <a:ext cx="4136923" cy="5173952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28600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конце </a:t>
            </a:r>
            <a:r>
              <a:rPr lang="ru-RU" sz="2400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ти / триместра </a:t>
            </a: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метки, выставленные в тетради,  суммируются, выводится средний балл и выставляется в журнал (в колонке) </a:t>
            </a:r>
            <a:r>
              <a:rPr lang="ru-RU" sz="240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д </a:t>
            </a:r>
            <a:r>
              <a:rPr lang="ru-RU" sz="240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тной / триместровой </a:t>
            </a: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меткой.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 descr="Восклицательный знак со сплошной заливкой">
            <a:extLst>
              <a:ext uri="{FF2B5EF4-FFF2-40B4-BE49-F238E27FC236}">
                <a16:creationId xmlns="" xmlns:a16="http://schemas.microsoft.com/office/drawing/2014/main" id="{48FA4C62-1948-A4D9-51F4-C355BFC715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82" y="7796058"/>
            <a:ext cx="325167" cy="110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77019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трелка: пятиугольник 2">
            <a:extLst>
              <a:ext uri="{FF2B5EF4-FFF2-40B4-BE49-F238E27FC236}">
                <a16:creationId xmlns="" xmlns:a16="http://schemas.microsoft.com/office/drawing/2014/main" id="{3126DFA6-2714-59F8-AE27-3527E0342FA5}"/>
              </a:ext>
            </a:extLst>
          </p:cNvPr>
          <p:cNvSpPr/>
          <p:nvPr/>
        </p:nvSpPr>
        <p:spPr>
          <a:xfrm>
            <a:off x="176981" y="471949"/>
            <a:ext cx="6465324" cy="2324782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Цель: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вершенствование приемов формирования у обучающихся 3-х и 4-х классов умений (учебных действий) по русскому языку и литературному чтению: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="" xmlns:a16="http://schemas.microsoft.com/office/drawing/2014/main" id="{13CA7FC3-6821-B679-76E0-1E3F3E648606}"/>
              </a:ext>
            </a:extLst>
          </p:cNvPr>
          <p:cNvSpPr/>
          <p:nvPr/>
        </p:nvSpPr>
        <p:spPr>
          <a:xfrm rot="10800000" flipV="1">
            <a:off x="157623" y="2971525"/>
            <a:ext cx="6504039" cy="4160139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авильно списывать слова, предложения, тексты объёмом не менее 50 слов и не более 70 слов (для обучающихся 3-х классов);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авильно списывать слова, предложения, тексты объёмом не менее 70 слов и не более 85 слов (для обучающихся 4-х классов);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Свиток: горизонтальный 4">
            <a:extLst>
              <a:ext uri="{FF2B5EF4-FFF2-40B4-BE49-F238E27FC236}">
                <a16:creationId xmlns="" xmlns:a16="http://schemas.microsoft.com/office/drawing/2014/main" id="{8899C8CE-9A16-7469-CE9E-3DC3D0C67B07}"/>
              </a:ext>
            </a:extLst>
          </p:cNvPr>
          <p:cNvSpPr/>
          <p:nvPr/>
        </p:nvSpPr>
        <p:spPr>
          <a:xfrm rot="10800000" flipV="1">
            <a:off x="176981" y="6415001"/>
            <a:ext cx="6504039" cy="6205248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составлять письменные высказывания на основе прочитанного текста на заданную тему по содержанию произведения не менее 3-4 предложений (для обучающихся 3-х классов);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составлять письменные высказывания на основе прочитанного текста на заданную тему по содержанию произведения не менее 4-5 предложений (для обучающихся 4-х классов).  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06537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58E2817E-B42B-661C-5200-5E88D2BE9413}"/>
              </a:ext>
            </a:extLst>
          </p:cNvPr>
          <p:cNvSpPr/>
          <p:nvPr/>
        </p:nvSpPr>
        <p:spPr>
          <a:xfrm>
            <a:off x="138266" y="209756"/>
            <a:ext cx="6465324" cy="90893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комендации по содержанию работы учителя начальных классов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C5472687-B6F3-7685-594D-7F51145C932A}"/>
              </a:ext>
            </a:extLst>
          </p:cNvPr>
          <p:cNvSpPr txBox="1"/>
          <p:nvPr/>
        </p:nvSpPr>
        <p:spPr>
          <a:xfrm>
            <a:off x="106257" y="1686071"/>
            <a:ext cx="2859343" cy="404405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выполнения дополнительных работ по русскому языку и литературному чтению ученики должны иметь следующее количество тетрадей:</a:t>
            </a:r>
            <a:endParaRPr lang="en-US" sz="2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="" xmlns:a16="http://schemas.microsoft.com/office/drawing/2014/main" id="{74B71457-F73B-88F9-2482-87AC3A7A31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98631182"/>
              </p:ext>
            </p:extLst>
          </p:nvPr>
        </p:nvGraphicFramePr>
        <p:xfrm>
          <a:off x="3719755" y="2092540"/>
          <a:ext cx="2966795" cy="9392921"/>
        </p:xfrm>
        <a:graphic>
          <a:graphicData uri="http://schemas.openxmlformats.org/drawingml/2006/table">
            <a:tbl>
              <a:tblPr firstRow="1" firstCol="1" bandRow="1"/>
              <a:tblGrid>
                <a:gridCol w="489066">
                  <a:extLst>
                    <a:ext uri="{9D8B030D-6E8A-4147-A177-3AD203B41FA5}">
                      <a16:colId xmlns="" xmlns:a16="http://schemas.microsoft.com/office/drawing/2014/main" val="4257502035"/>
                    </a:ext>
                  </a:extLst>
                </a:gridCol>
                <a:gridCol w="1349477">
                  <a:extLst>
                    <a:ext uri="{9D8B030D-6E8A-4147-A177-3AD203B41FA5}">
                      <a16:colId xmlns="" xmlns:a16="http://schemas.microsoft.com/office/drawing/2014/main" val="445993287"/>
                    </a:ext>
                  </a:extLst>
                </a:gridCol>
                <a:gridCol w="1128252">
                  <a:extLst>
                    <a:ext uri="{9D8B030D-6E8A-4147-A177-3AD203B41FA5}">
                      <a16:colId xmlns="" xmlns:a16="http://schemas.microsoft.com/office/drawing/2014/main" val="2392870800"/>
                    </a:ext>
                  </a:extLst>
                </a:gridCol>
              </a:tblGrid>
              <a:tr h="973940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3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endParaRPr lang="en-US" sz="36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36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мет</a:t>
                      </a:r>
                      <a:endParaRPr lang="en-US" sz="36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36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-4 классы</a:t>
                      </a:r>
                      <a:endParaRPr lang="en-US" sz="36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71331743"/>
                  </a:ext>
                </a:extLst>
              </a:tr>
              <a:tr h="973940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3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36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36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сский язык</a:t>
                      </a:r>
                      <a:endParaRPr lang="en-US" sz="36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3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тетрадь</a:t>
                      </a:r>
                      <a:endParaRPr lang="en-US" sz="36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81488595"/>
                  </a:ext>
                </a:extLst>
              </a:tr>
              <a:tr h="1159595"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3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36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</a:pPr>
                      <a:r>
                        <a:rPr lang="ru-RU" sz="36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итературное чтение</a:t>
                      </a:r>
                      <a:endParaRPr lang="en-US" sz="360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</a:pPr>
                      <a:r>
                        <a:rPr lang="ru-RU" sz="36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1 тетрадь</a:t>
                      </a:r>
                      <a:endParaRPr lang="en-US" sz="36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2294437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A9B022E8-24BD-B6EF-3219-E4C9C8FC5423}"/>
              </a:ext>
            </a:extLst>
          </p:cNvPr>
          <p:cNvSpPr txBox="1"/>
          <p:nvPr/>
        </p:nvSpPr>
        <p:spPr>
          <a:xfrm>
            <a:off x="106257" y="5732931"/>
            <a:ext cx="2859343" cy="572733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ающиеся пользуются стандартными тетрадями в широкую линию, состоящими из 12–18 листов. 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адь по предмету должна иметь аккуратный внешний вид. На ее обложке (первой странице) делается следующая запись: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Стрелка вправо контур">
            <a:extLst>
              <a:ext uri="{FF2B5EF4-FFF2-40B4-BE49-F238E27FC236}">
                <a16:creationId xmlns="" xmlns:a16="http://schemas.microsoft.com/office/drawing/2014/main" id="{AC3F9E56-8A8C-1050-CB80-CC01896FFC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25213" y="2748238"/>
            <a:ext cx="541605" cy="1132459"/>
          </a:xfrm>
          <a:prstGeom prst="rect">
            <a:avLst/>
          </a:prstGeom>
        </p:spPr>
      </p:pic>
      <p:pic>
        <p:nvPicPr>
          <p:cNvPr id="14" name="Рисунок 13" descr="Стрелка вправо контур">
            <a:extLst>
              <a:ext uri="{FF2B5EF4-FFF2-40B4-BE49-F238E27FC236}">
                <a16:creationId xmlns="" xmlns:a16="http://schemas.microsoft.com/office/drawing/2014/main" id="{9637AC07-9CE2-5F1B-3D71-0742D8F1D3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25212" y="7775163"/>
            <a:ext cx="502891" cy="113245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3C74316A-8AC5-8F99-3793-4F9910A74E5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2839" t="6093" r="14018" b="6608"/>
          <a:stretch/>
        </p:blipFill>
        <p:spPr>
          <a:xfrm>
            <a:off x="3719756" y="5544873"/>
            <a:ext cx="1659193" cy="55930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DC30B3CE-EC0F-516D-9726-EABDBFF36A4F}"/>
              </a:ext>
            </a:extLst>
          </p:cNvPr>
          <p:cNvSpPr txBox="1"/>
          <p:nvPr/>
        </p:nvSpPr>
        <p:spPr>
          <a:xfrm>
            <a:off x="4340383" y="5865215"/>
            <a:ext cx="2359994" cy="610115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7200" algn="just">
              <a:lnSpc>
                <a:spcPct val="107000"/>
              </a:lnSpc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Тетрадь для 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дополнительных работ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по __________________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ученика(</a:t>
            </a:r>
            <a:r>
              <a:rPr lang="ru-RU" sz="2000" dirty="0" err="1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ы</a:t>
            </a: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___________класса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МБОУ «…………….»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Фамилия____ Имя_____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20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4175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08629BDE-CA99-BDFD-F14D-7009DB39071A}"/>
              </a:ext>
            </a:extLst>
          </p:cNvPr>
          <p:cNvSpPr/>
          <p:nvPr/>
        </p:nvSpPr>
        <p:spPr>
          <a:xfrm>
            <a:off x="118909" y="128478"/>
            <a:ext cx="6465324" cy="1468284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я дополнительных работ по русскому языку осуществляется один раз в неделю.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Свиток: горизонтальный 2">
            <a:extLst>
              <a:ext uri="{FF2B5EF4-FFF2-40B4-BE49-F238E27FC236}">
                <a16:creationId xmlns="" xmlns:a16="http://schemas.microsoft.com/office/drawing/2014/main" id="{7B6E5431-C676-B877-E738-04431F9A0844}"/>
              </a:ext>
            </a:extLst>
          </p:cNvPr>
          <p:cNvSpPr/>
          <p:nvPr/>
        </p:nvSpPr>
        <p:spPr>
          <a:xfrm>
            <a:off x="121674" y="1314467"/>
            <a:ext cx="6465324" cy="3804427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 понедельник обучающимся 3-х и 4-х классов в качестве домашней письменной работы учитель выдает на карточках единый текст для списывания  (приложение №1) </a:t>
            </a:r>
            <a:r>
              <a:rPr lang="ru-RU" sz="24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бъемом не менее 50 слов и не более 70 слов для 3-х классов, объемом не менее 70 слов и не более 85 слов для 4-х классов.</a:t>
            </a:r>
            <a:endParaRPr lang="en-US" sz="2400" b="1" i="1" dirty="0">
              <a:solidFill>
                <a:srgbClr val="002060"/>
              </a:solidFill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="" xmlns:a16="http://schemas.microsoft.com/office/drawing/2014/main" id="{6BBB65CF-AF32-DC92-C706-D4BF08898BBF}"/>
              </a:ext>
            </a:extLst>
          </p:cNvPr>
          <p:cNvSpPr/>
          <p:nvPr/>
        </p:nvSpPr>
        <p:spPr>
          <a:xfrm>
            <a:off x="116143" y="4743086"/>
            <a:ext cx="6448732" cy="4020300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е рекомендуется в этот день выдавать обучающимся более одной домашней письменной работы по русскому языку, при необходимости можно выдать дополнительное домашнее задание в устной форме по изученной теме: выучить правило и т.д.. </a:t>
            </a:r>
            <a:endParaRPr lang="en-US" sz="2400" dirty="0">
              <a:solidFill>
                <a:srgbClr val="002060"/>
              </a:solidFill>
            </a:endParaRPr>
          </a:p>
        </p:txBody>
      </p:sp>
      <p:pic>
        <p:nvPicPr>
          <p:cNvPr id="8" name="Рисунок 7" descr="Восклицательный знак со сплошной заливкой">
            <a:extLst>
              <a:ext uri="{FF2B5EF4-FFF2-40B4-BE49-F238E27FC236}">
                <a16:creationId xmlns="" xmlns:a16="http://schemas.microsoft.com/office/drawing/2014/main" id="{4A6BD85A-BE30-8D8B-587A-4FE73B0C0E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71898" y="5951796"/>
            <a:ext cx="514350" cy="1625600"/>
          </a:xfrm>
          <a:prstGeom prst="rect">
            <a:avLst/>
          </a:prstGeom>
        </p:spPr>
      </p:pic>
      <p:sp>
        <p:nvSpPr>
          <p:cNvPr id="9" name="Свиток: горизонтальный 8">
            <a:extLst>
              <a:ext uri="{FF2B5EF4-FFF2-40B4-BE49-F238E27FC236}">
                <a16:creationId xmlns="" xmlns:a16="http://schemas.microsoft.com/office/drawing/2014/main" id="{0AEC0A32-8360-04E0-B437-23CE90660A1C}"/>
              </a:ext>
            </a:extLst>
          </p:cNvPr>
          <p:cNvSpPr/>
          <p:nvPr/>
        </p:nvSpPr>
        <p:spPr>
          <a:xfrm>
            <a:off x="124439" y="8387573"/>
            <a:ext cx="6432140" cy="3804427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 следующему учебному занятию работа детьми должна быть выполнена и сдана на проверку. Учитель проверяет работы обучающихся, выставляет отметки в тетради в соответствии с критериями оценивания и выдает тетради обучающимся в следующий понедельник для выполнения новой работы. </a:t>
            </a:r>
            <a:endParaRPr lang="en-US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87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виток: горизонтальный 1">
            <a:extLst>
              <a:ext uri="{FF2B5EF4-FFF2-40B4-BE49-F238E27FC236}">
                <a16:creationId xmlns="" xmlns:a16="http://schemas.microsoft.com/office/drawing/2014/main" id="{3233FD7A-8E69-D8DF-FAE6-137C0CC9BF45}"/>
              </a:ext>
            </a:extLst>
          </p:cNvPr>
          <p:cNvSpPr/>
          <p:nvPr/>
        </p:nvSpPr>
        <p:spPr>
          <a:xfrm>
            <a:off x="145180" y="865239"/>
            <a:ext cx="6567641" cy="11093404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457200" algn="just">
              <a:lnSpc>
                <a:spcPct val="107000"/>
              </a:lnSpc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Прочитай предложение и повтори его по памяти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Прочитай предложение еще раз так, как оно написано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Диктуй себе каждое слово по ходу записи предложения.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ru-RU" sz="2800" i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.Проверь написанное. Прочитай каждое слово. Открой образец и сравни написанное с образцом. </a:t>
            </a:r>
            <a:endParaRPr lang="en-US" sz="28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endParaRPr lang="ru-RU" sz="2800" b="1" i="1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8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.</a:t>
            </a:r>
            <a:r>
              <a:rPr lang="en-US" sz="28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ru-RU" sz="2800" b="1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28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писывание с готового образца - для списывания предлагается текст без пропуска букв и дополнительных заданий; цель списать правильно, без ошибок и искажений.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</a:pPr>
            <a:r>
              <a:rPr lang="ru-RU" sz="2400" i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: пятиугольник 2">
            <a:extLst>
              <a:ext uri="{FF2B5EF4-FFF2-40B4-BE49-F238E27FC236}">
                <a16:creationId xmlns="" xmlns:a16="http://schemas.microsoft.com/office/drawing/2014/main" id="{2F4E42AE-3BEC-3AE4-A230-C11E5AB475CF}"/>
              </a:ext>
            </a:extLst>
          </p:cNvPr>
          <p:cNvSpPr/>
          <p:nvPr/>
        </p:nvSpPr>
        <p:spPr>
          <a:xfrm>
            <a:off x="174216" y="233357"/>
            <a:ext cx="4731467" cy="1468284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32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кращенный алгоритм списывания</a:t>
            </a:r>
          </a:p>
        </p:txBody>
      </p:sp>
    </p:spTree>
    <p:extLst>
      <p:ext uri="{BB962C8B-B14F-4D97-AF65-F5344CB8AC3E}">
        <p14:creationId xmlns:p14="http://schemas.microsoft.com/office/powerpoint/2010/main" xmlns="" val="4000357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F75E642B-FE2A-11F6-4A1C-940B34BAD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0E51936C-EAB5-E73F-3837-08869DB33B2B}"/>
              </a:ext>
            </a:extLst>
          </p:cNvPr>
          <p:cNvSpPr/>
          <p:nvPr/>
        </p:nvSpPr>
        <p:spPr>
          <a:xfrm>
            <a:off x="118909" y="128478"/>
            <a:ext cx="6465324" cy="1468284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я дополнительных работ по литературному чтению осуществляется один раз в неделю.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Свиток: горизонтальный 2">
            <a:extLst>
              <a:ext uri="{FF2B5EF4-FFF2-40B4-BE49-F238E27FC236}">
                <a16:creationId xmlns="" xmlns:a16="http://schemas.microsoft.com/office/drawing/2014/main" id="{0F3DBA2D-EC3F-83BA-C5D2-89D5104B1E60}"/>
              </a:ext>
            </a:extLst>
          </p:cNvPr>
          <p:cNvSpPr/>
          <p:nvPr/>
        </p:nvSpPr>
        <p:spPr>
          <a:xfrm>
            <a:off x="66367" y="1443654"/>
            <a:ext cx="6692081" cy="4499237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а третьем уроке по литературному чтению в рамках текущей недели обучающимся 3-х и 4-х классов в качестве домашней письменной работы учитель выдает задание составить письменное высказывание на основе прочитанного текста на заданную тему в рамках текущего планирования. Письменное высказывание должно содержать для 3-х классов не менее 3-4 предложений, для 4-х классов- не менее 4-5 предложений. Объем и содержание текста для письменного высказывания учитель определяет самостоятельно. </a:t>
            </a:r>
            <a:endParaRPr lang="en-US" sz="2000" b="1" i="1" dirty="0">
              <a:solidFill>
                <a:srgbClr val="002060"/>
              </a:solidFill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="" xmlns:a16="http://schemas.microsoft.com/office/drawing/2014/main" id="{1E9A762F-0E81-A44E-EF18-53A7A642B97D}"/>
              </a:ext>
            </a:extLst>
          </p:cNvPr>
          <p:cNvSpPr/>
          <p:nvPr/>
        </p:nvSpPr>
        <p:spPr>
          <a:xfrm>
            <a:off x="66369" y="5789782"/>
            <a:ext cx="6675488" cy="2757186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е рекомендуется в этот день выдавать обучающимся более одной домашней письменной работы по литературному чтению, при необходимости можно выдать дополнительное домашнее задание в устной форме по изученной теме: выразительное чтение произведения, подготовиться к пересказу и т.д.. </a:t>
            </a:r>
            <a:endParaRPr lang="en-US" sz="2000" dirty="0">
              <a:solidFill>
                <a:srgbClr val="002060"/>
              </a:solidFill>
            </a:endParaRPr>
          </a:p>
        </p:txBody>
      </p:sp>
      <p:pic>
        <p:nvPicPr>
          <p:cNvPr id="8" name="Рисунок 7" descr="Восклицательный знак со сплошной заливкой">
            <a:extLst>
              <a:ext uri="{FF2B5EF4-FFF2-40B4-BE49-F238E27FC236}">
                <a16:creationId xmlns="" xmlns:a16="http://schemas.microsoft.com/office/drawing/2014/main" id="{D826F277-609C-FDF1-67A3-8B513461F5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92881" y="6593570"/>
            <a:ext cx="418048" cy="1321237"/>
          </a:xfrm>
          <a:prstGeom prst="rect">
            <a:avLst/>
          </a:prstGeom>
        </p:spPr>
      </p:pic>
      <p:sp>
        <p:nvSpPr>
          <p:cNvPr id="9" name="Свиток: горизонтальный 8">
            <a:extLst>
              <a:ext uri="{FF2B5EF4-FFF2-40B4-BE49-F238E27FC236}">
                <a16:creationId xmlns="" xmlns:a16="http://schemas.microsoft.com/office/drawing/2014/main" id="{F508CFE8-B404-436A-F19E-3AEBE1F93C24}"/>
              </a:ext>
            </a:extLst>
          </p:cNvPr>
          <p:cNvSpPr/>
          <p:nvPr/>
        </p:nvSpPr>
        <p:spPr>
          <a:xfrm>
            <a:off x="74664" y="8445528"/>
            <a:ext cx="6658898" cy="3380763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0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К следующему учебному занятию по литературному чтению работа детьми должна быть выполнена и сдана на проверку. Учитель проверяет работы обучающихся, выставляет отметки в тетради в соответствии с критериями оценивания и выдает тетради обучающимся на третьем уроке по литературному чтению в рамках текущей недели для выполнения новой работы.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703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CD6C5131-9383-4818-BC1E-03A9312C35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149" t="12982" r="35313" b="8937"/>
          <a:stretch/>
        </p:blipFill>
        <p:spPr>
          <a:xfrm>
            <a:off x="5392270" y="1886070"/>
            <a:ext cx="1058628" cy="46064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E1ED1E27-99FD-4C24-9E0D-8352C7FB3E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578" t="12295" r="34546" b="10390"/>
          <a:stretch/>
        </p:blipFill>
        <p:spPr>
          <a:xfrm>
            <a:off x="4256624" y="1779888"/>
            <a:ext cx="1058628" cy="47126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Свиток: горизонтальный 1">
            <a:extLst>
              <a:ext uri="{FF2B5EF4-FFF2-40B4-BE49-F238E27FC236}">
                <a16:creationId xmlns="" xmlns:a16="http://schemas.microsoft.com/office/drawing/2014/main" id="{A39C6E6E-1D26-6044-01F2-734E7CF1CD05}"/>
              </a:ext>
            </a:extLst>
          </p:cNvPr>
          <p:cNvSpPr/>
          <p:nvPr/>
        </p:nvSpPr>
        <p:spPr>
          <a:xfrm>
            <a:off x="96181" y="4356412"/>
            <a:ext cx="4024373" cy="2005438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автор относится к Рукодельнице и Ленивице? Почему ты так думаешь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виток: горизонтальный 3">
            <a:extLst>
              <a:ext uri="{FF2B5EF4-FFF2-40B4-BE49-F238E27FC236}">
                <a16:creationId xmlns="" xmlns:a16="http://schemas.microsoft.com/office/drawing/2014/main" id="{67328A94-4BA3-27B4-E3E9-FC853F301E3E}"/>
              </a:ext>
            </a:extLst>
          </p:cNvPr>
          <p:cNvSpPr/>
          <p:nvPr/>
        </p:nvSpPr>
        <p:spPr>
          <a:xfrm>
            <a:off x="81949" y="2017209"/>
            <a:ext cx="4038605" cy="2178482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ови героев сказки, из-за которых происходили все несчастья. Почему они так поступали? 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виток: горизонтальный 5">
            <a:extLst>
              <a:ext uri="{FF2B5EF4-FFF2-40B4-BE49-F238E27FC236}">
                <a16:creationId xmlns="" xmlns:a16="http://schemas.microsoft.com/office/drawing/2014/main" id="{1260864D-A166-885F-8236-2F69865D9752}"/>
              </a:ext>
            </a:extLst>
          </p:cNvPr>
          <p:cNvSpPr/>
          <p:nvPr/>
        </p:nvSpPr>
        <p:spPr>
          <a:xfrm>
            <a:off x="89065" y="6692151"/>
            <a:ext cx="6406655" cy="1836928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т ли льстивые слова намерениям Лисицы? Как Лисице удалось достичь своей цели? 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виток: горизонтальный 7">
            <a:extLst>
              <a:ext uri="{FF2B5EF4-FFF2-40B4-BE49-F238E27FC236}">
                <a16:creationId xmlns="" xmlns:a16="http://schemas.microsoft.com/office/drawing/2014/main" id="{1FEBA161-DA47-6ACE-A07D-EC1D966E004F}"/>
              </a:ext>
            </a:extLst>
          </p:cNvPr>
          <p:cNvSpPr/>
          <p:nvPr/>
        </p:nvSpPr>
        <p:spPr>
          <a:xfrm>
            <a:off x="88489" y="8529080"/>
            <a:ext cx="6406655" cy="1296432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чем комичность ситуации? Что тебя в басне забавляет, смущает?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виток: горизонтальный 9">
            <a:extLst>
              <a:ext uri="{FF2B5EF4-FFF2-40B4-BE49-F238E27FC236}">
                <a16:creationId xmlns="" xmlns:a16="http://schemas.microsoft.com/office/drawing/2014/main" id="{D8A4C155-08E3-1D84-4BCB-E1B40E97CA12}"/>
              </a:ext>
            </a:extLst>
          </p:cNvPr>
          <p:cNvSpPr/>
          <p:nvPr/>
        </p:nvSpPr>
        <p:spPr>
          <a:xfrm>
            <a:off x="98947" y="9862100"/>
            <a:ext cx="6406655" cy="1836928"/>
          </a:xfrm>
          <a:prstGeom prst="horizontalScroll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мотри репродукцию картины И. И. Шишкина. Совпадает ли она по настроению со стихотворением «На севере диком…? Обоснуй свое мнение.</a:t>
            </a: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Стрелка: пятиугольник 11">
            <a:extLst>
              <a:ext uri="{FF2B5EF4-FFF2-40B4-BE49-F238E27FC236}">
                <a16:creationId xmlns="" xmlns:a16="http://schemas.microsoft.com/office/drawing/2014/main" id="{F58A65D1-E706-F828-8B1C-B945B25041D8}"/>
              </a:ext>
            </a:extLst>
          </p:cNvPr>
          <p:cNvSpPr/>
          <p:nvPr/>
        </p:nvSpPr>
        <p:spPr>
          <a:xfrm>
            <a:off x="118909" y="128478"/>
            <a:ext cx="6465324" cy="1468284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 и содержание текста для письменного высказывания учитель определяет самостоятельно.</a:t>
            </a:r>
            <a:endParaRPr lang="en-US" sz="2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545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516B779F-D8E4-8A2D-FD91-63E9F880B4C4}"/>
              </a:ext>
            </a:extLst>
          </p:cNvPr>
          <p:cNvSpPr/>
          <p:nvPr/>
        </p:nvSpPr>
        <p:spPr>
          <a:xfrm>
            <a:off x="138266" y="209756"/>
            <a:ext cx="5149031" cy="90893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оценивания работы по русскому языку 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="" xmlns:a16="http://schemas.microsoft.com/office/drawing/2014/main" id="{74F87A3E-7BD1-DFD4-831A-CFC847DD83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59386021"/>
              </p:ext>
            </p:extLst>
          </p:nvPr>
        </p:nvGraphicFramePr>
        <p:xfrm>
          <a:off x="138266" y="1467134"/>
          <a:ext cx="6592529" cy="29169995"/>
        </p:xfrm>
        <a:graphic>
          <a:graphicData uri="http://schemas.openxmlformats.org/drawingml/2006/table">
            <a:tbl>
              <a:tblPr firstRow="1" firstCol="1" bandRow="1"/>
              <a:tblGrid>
                <a:gridCol w="364900">
                  <a:extLst>
                    <a:ext uri="{9D8B030D-6E8A-4147-A177-3AD203B41FA5}">
                      <a16:colId xmlns="" xmlns:a16="http://schemas.microsoft.com/office/drawing/2014/main" val="2521669341"/>
                    </a:ext>
                  </a:extLst>
                </a:gridCol>
                <a:gridCol w="690447">
                  <a:extLst>
                    <a:ext uri="{9D8B030D-6E8A-4147-A177-3AD203B41FA5}">
                      <a16:colId xmlns="" xmlns:a16="http://schemas.microsoft.com/office/drawing/2014/main" val="4253937928"/>
                    </a:ext>
                  </a:extLst>
                </a:gridCol>
                <a:gridCol w="1749374">
                  <a:extLst>
                    <a:ext uri="{9D8B030D-6E8A-4147-A177-3AD203B41FA5}">
                      <a16:colId xmlns="" xmlns:a16="http://schemas.microsoft.com/office/drawing/2014/main" val="3986693187"/>
                    </a:ext>
                  </a:extLst>
                </a:gridCol>
                <a:gridCol w="3787808">
                  <a:extLst>
                    <a:ext uri="{9D8B030D-6E8A-4147-A177-3AD203B41FA5}">
                      <a16:colId xmlns="" xmlns:a16="http://schemas.microsoft.com/office/drawing/2014/main" val="3103371927"/>
                    </a:ext>
                  </a:extLst>
                </a:gridCol>
              </a:tblGrid>
              <a:tr h="1220300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ряемое умение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 оценивания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22074183"/>
                  </a:ext>
                </a:extLst>
              </a:tr>
              <a:tr h="9136345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авильно списывать слова, предложения, тексты объёмом не менее 50 слов и не более 70 слов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а оценивается одной отметкой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5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безошибочную работу, а также при наличии в ней 1 негрубой орфографической или 1 негрубой пунктуационной ошибки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4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при наличии 2 орфографических и 2 пунктуационных ошибок, или 1 орфографической и 3 пунктуационных ошибок, или 4 пунктуационных при отсутствии орфографических ошибок. Оценка «4» может выставляться при 3 орфографических ошибках, если среди них есть однотипные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3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ы 3-5 орфографических и 4 пунктуационных ошибок. Оценка «3» может быть поставлена также при наличии 6 орфографических и 6 пунктуационных ошибках, если среди тех и других имеются однотипные и негрубые ошибки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2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о до 7 и более орфографических и 7 пунктуационных ошибок, или 6 орфографических и 8 пунктуационных ошибок, 5 орфографических и 9 пунктуационных ошибок, 8 орфографических и 6 пунктуационных ошибок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18381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793922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4BE2916B-EF25-A90B-B569-3DBC4BF5A4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596F5306-3F72-AFE7-BDC5-B3DC430C93D6}"/>
              </a:ext>
            </a:extLst>
          </p:cNvPr>
          <p:cNvSpPr/>
          <p:nvPr/>
        </p:nvSpPr>
        <p:spPr>
          <a:xfrm>
            <a:off x="138266" y="209756"/>
            <a:ext cx="5149031" cy="908937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и оценивания работы по русскому языку </a:t>
            </a:r>
            <a:endParaRPr lang="en-US" sz="2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="" xmlns:a16="http://schemas.microsoft.com/office/drawing/2014/main" id="{44442241-24ED-CB1C-B504-84371A78B5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30237621"/>
              </p:ext>
            </p:extLst>
          </p:nvPr>
        </p:nvGraphicFramePr>
        <p:xfrm>
          <a:off x="138266" y="1467134"/>
          <a:ext cx="6592529" cy="29169995"/>
        </p:xfrm>
        <a:graphic>
          <a:graphicData uri="http://schemas.openxmlformats.org/drawingml/2006/table">
            <a:tbl>
              <a:tblPr firstRow="1" firstCol="1" bandRow="1"/>
              <a:tblGrid>
                <a:gridCol w="364900">
                  <a:extLst>
                    <a:ext uri="{9D8B030D-6E8A-4147-A177-3AD203B41FA5}">
                      <a16:colId xmlns="" xmlns:a16="http://schemas.microsoft.com/office/drawing/2014/main" val="2521669341"/>
                    </a:ext>
                  </a:extLst>
                </a:gridCol>
                <a:gridCol w="690447">
                  <a:extLst>
                    <a:ext uri="{9D8B030D-6E8A-4147-A177-3AD203B41FA5}">
                      <a16:colId xmlns="" xmlns:a16="http://schemas.microsoft.com/office/drawing/2014/main" val="4253937928"/>
                    </a:ext>
                  </a:extLst>
                </a:gridCol>
                <a:gridCol w="1749374">
                  <a:extLst>
                    <a:ext uri="{9D8B030D-6E8A-4147-A177-3AD203B41FA5}">
                      <a16:colId xmlns="" xmlns:a16="http://schemas.microsoft.com/office/drawing/2014/main" val="3986693187"/>
                    </a:ext>
                  </a:extLst>
                </a:gridCol>
                <a:gridCol w="3787808">
                  <a:extLst>
                    <a:ext uri="{9D8B030D-6E8A-4147-A177-3AD203B41FA5}">
                      <a16:colId xmlns="" xmlns:a16="http://schemas.microsoft.com/office/drawing/2014/main" val="3103371927"/>
                    </a:ext>
                  </a:extLst>
                </a:gridCol>
              </a:tblGrid>
              <a:tr h="1220300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ряемое умение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 оценивания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501" marR="175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922074183"/>
                  </a:ext>
                </a:extLst>
              </a:tr>
              <a:tr h="9136345"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 b="1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</a:pPr>
                      <a:r>
                        <a:rPr lang="ru-RU" sz="280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280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авильно списывать слова, предложения, тексты объёмом не менее 70 слов и не более 85 слов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а оценивается одной отметкой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5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безошибочную работу, а также при наличии в ней 1 негрубой орфографической или 1 негрубой пунктуационной ошибки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4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при наличии 2 орфографических и 2 пунктуационных ошибок, или 1 орфографической и 3 пунктуационных ошибок, или 4 пунктуационных при отсутствии орфографических ошибок. Оценка «4» может выставляться при 3 орфографических ошибках, если среди них есть однотипные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3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ы 3-5 орфографических и 4 пунктуационных ошибок. Оценка «3» может быть поставлена также при наличии 6 орфографических и 6 пунктуационных ошибках, если среди тех и других имеются однотипные и негрубые ошибки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2800" b="1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ценка «2»</a:t>
                      </a:r>
                      <a:r>
                        <a:rPr lang="ru-RU" sz="28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ыставляется за работу, в которой допущено до 7 и более орфографических и 7 пунктуационных ошибок, или 6 орфографических и 8 пунктуационных ошибок, 5 орфографических и 9 пунктуационных ошибок, 8 орфографических и 6 пунктуационных ошибок.</a:t>
                      </a:r>
                      <a:endParaRPr lang="en-US" sz="28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18381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533721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578</TotalTime>
  <Words>1363</Words>
  <Application>Microsoft Office PowerPoint</Application>
  <PresentationFormat>Произвольный</PresentationFormat>
  <Paragraphs>121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Тема Office</vt:lpstr>
      <vt:lpstr>Светлые слайды</vt:lpstr>
      <vt:lpstr>1_Светлые слайды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PC</cp:lastModifiedBy>
  <cp:revision>1193</cp:revision>
  <cp:lastPrinted>2022-08-02T06:55:16Z</cp:lastPrinted>
  <dcterms:created xsi:type="dcterms:W3CDTF">2020-02-25T09:30:21Z</dcterms:created>
  <dcterms:modified xsi:type="dcterms:W3CDTF">2025-03-17T07:59:25Z</dcterms:modified>
</cp:coreProperties>
</file>